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55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156607"/>
            <a:ext cx="2574799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55397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8</cp:revision>
  <dcterms:created xsi:type="dcterms:W3CDTF">2021-03-31T02:49:57Z</dcterms:created>
  <dcterms:modified xsi:type="dcterms:W3CDTF">2025-10-15T02:46:06Z</dcterms:modified>
  <cp:category/>
</cp:coreProperties>
</file>